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41"/>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Category" id="{3AC7DAE0-F155-4540-893D-F80E1DC25EAE}">
          <p14:sldIdLst>
            <p14:sldId id="2147475173"/>
            <p14:sldId id="2147475174"/>
            <p14:sldId id="2147475175"/>
            <p14:sldId id="2147475176"/>
            <p14:sldId id="2147475177"/>
            <p14:sldId id="2147475178"/>
            <p14:sldId id="2147475179"/>
            <p14:sldId id="2147475180"/>
            <p14:sldId id="2147475181"/>
          </p14:sldIdLst>
        </p14:section>
        <p14:section name="Brackets By Sector" id="{76C70374-185E-4AFD-96BC-36DB1729C215}">
          <p14:sldIdLst>
            <p14:sldId id="2147475182"/>
            <p14:sldId id="2147475183"/>
            <p14:sldId id="2147475184"/>
            <p14:sldId id="2147475185"/>
            <p14:sldId id="2147475186"/>
            <p14:sldId id="2147475187"/>
            <p14:sldId id="2147475188"/>
            <p14:sldId id="2147475189"/>
            <p14:sldId id="2147475190"/>
          </p14:sldIdLst>
        </p14:section>
        <p14:section name="Brackets By Segment" id="{34335B43-A78E-4B4E-A3FC-5304664A998E}">
          <p14:sldIdLst>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85" d="100"/>
          <a:sy n="85" d="100"/>
        </p:scale>
        <p:origin x="444" y="84"/>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notesMaster" Target="notesMasters/notesMaster1.xml"/><Relationship Id="rId42" Type="http://schemas.openxmlformats.org/officeDocument/2006/relationships/presProps" Target="presProps.xml"/><Relationship Id="rId43" Type="http://schemas.openxmlformats.org/officeDocument/2006/relationships/viewProps" Target="viewProps.xml"/><Relationship Id="rId44" Type="http://schemas.openxmlformats.org/officeDocument/2006/relationships/theme" Target="theme/theme1.xml"/><Relationship Id="rId45" Type="http://schemas.openxmlformats.org/officeDocument/2006/relationships/tableStyles" Target="tableStyles.xml"/><Relationship Id="rId46" Type="http://schemas.microsoft.com/office/2015/10/relationships/revisionInfo" Target="revisionInfo.xml"/><Relationship Id="rId47"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231895951980347</c:v>
                </c:pt>
                <c:pt idx="1">
                  <c:v>0.04329334864300062</c:v>
                </c:pt>
                <c:pt idx="2">
                  <c:v>0.11709217419730092</c:v>
                </c:pt>
                <c:pt idx="3">
                  <c:v>0.24465734611122858</c:v>
                </c:pt>
                <c:pt idx="4">
                  <c:v>0.3932089346459883</c:v>
                </c:pt>
                <c:pt idx="5">
                  <c:v>0.19339064677164633</c:v>
                </c:pt>
                <c:pt idx="6">
                  <c:v>0.001125653678854936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8123258798760101</c:v>
                </c:pt>
                <c:pt idx="3">
                  <c:v>0.0019586700359540744</c:v>
                </c:pt>
                <c:pt idx="4">
                  <c:v>0.008880963282224425</c:v>
                </c:pt>
                <c:pt idx="5">
                  <c:v>0.00605121704502577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767417367305052</c:v>
                </c:pt>
                <c:pt idx="1">
                  <c:v>0.049921609106733524</c:v>
                </c:pt>
                <c:pt idx="2">
                  <c:v>0.00368559606057033</c:v>
                </c:pt>
                <c:pt idx="3">
                  <c:v>0.442287515213529</c:v>
                </c:pt>
                <c:pt idx="4">
                  <c:v>0.4869122431686509</c:v>
                </c:pt>
                <c:pt idx="5">
                  <c:v>0.01542561908321125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287810242930142</c:v>
                </c:pt>
                <c:pt idx="1">
                  <c:v>0.033746952717115544</c:v>
                </c:pt>
                <c:pt idx="2">
                  <c:v>0.1192322273957106</c:v>
                </c:pt>
                <c:pt idx="3">
                  <c:v>0.22555260391768012</c:v>
                </c:pt>
                <c:pt idx="4">
                  <c:v>0.42483219111845827</c:v>
                </c:pt>
                <c:pt idx="5">
                  <c:v>0.1921441325302992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10098768442806877</c:v>
                </c:pt>
                <c:pt idx="2">
                  <c:v>0.008479239880879232</c:v>
                </c:pt>
                <c:pt idx="3">
                  <c:v>0.0009400241152511937</c:v>
                </c:pt>
                <c:pt idx="4">
                  <c:v>0.009185874751290178</c:v>
                </c:pt>
                <c:pt idx="5">
                  <c:v>0.001643238389048437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01818768546174</c:v>
                </c:pt>
                <c:pt idx="4">
                  <c:v>0.016386580516175052</c:v>
                </c:pt>
                <c:pt idx="5">
                  <c:v>0.4916116822395893</c:v>
                </c:pt>
                <c:pt idx="6">
                  <c:v>0.01181986038961826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212973106886513</c:v>
                </c:pt>
                <c:pt idx="1">
                  <c:v>0.029687248740982775</c:v>
                </c:pt>
                <c:pt idx="2">
                  <c:v>0.12761672668444915</c:v>
                </c:pt>
                <c:pt idx="3">
                  <c:v>0.2547365973255013</c:v>
                </c:pt>
                <c:pt idx="4">
                  <c:v>0.3968347783462146</c:v>
                </c:pt>
                <c:pt idx="5">
                  <c:v>0.1796172943407806</c:v>
                </c:pt>
                <c:pt idx="6">
                  <c:v>0.00429438145518505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9694501430757998</c:v>
                </c:pt>
                <c:pt idx="2">
                  <c:v>0.008513550304275195</c:v>
                </c:pt>
                <c:pt idx="3">
                  <c:v>0.003223941479378956</c:v>
                </c:pt>
                <c:pt idx="4">
                  <c:v>0.010741776736682298</c:v>
                </c:pt>
                <c:pt idx="5">
                  <c:v>0.000678248761639390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957642752446729</c:v>
                </c:pt>
                <c:pt idx="4">
                  <c:v>0.025567123997860344</c:v>
                </c:pt>
                <c:pt idx="5">
                  <c:v>0.4786686007574667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7586891112466138</c:v>
                </c:pt>
                <c:pt idx="1">
                  <c:v>0.04993752436549746</c:v>
                </c:pt>
                <c:pt idx="2">
                  <c:v>0.0036831885564629794</c:v>
                </c:pt>
                <c:pt idx="3">
                  <c:v>0.44236697687901727</c:v>
                </c:pt>
                <c:pt idx="4">
                  <c:v>0.4868263877087936</c:v>
                </c:pt>
                <c:pt idx="5">
                  <c:v>0.01542723337898219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9224311620665</c:v>
                </c:pt>
                <c:pt idx="1">
                  <c:v>0.035024228602596755</c:v>
                </c:pt>
                <c:pt idx="2">
                  <c:v>0.12071333981810425</c:v>
                </c:pt>
                <c:pt idx="3">
                  <c:v>0.24391384913602115</c:v>
                </c:pt>
                <c:pt idx="4">
                  <c:v>0.4069563476723372</c:v>
                </c:pt>
                <c:pt idx="5">
                  <c:v>0.18782239145357105</c:v>
                </c:pt>
                <c:pt idx="6">
                  <c:v>0.000647412155303103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5255679109854054</c:v>
                </c:pt>
                <c:pt idx="4">
                  <c:v>0.008094831054777785</c:v>
                </c:pt>
                <c:pt idx="5">
                  <c:v>0.00555081993361669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584762365277406</c:v>
                </c:pt>
                <c:pt idx="4">
                  <c:v>0.02239225026376474</c:v>
                </c:pt>
                <c:pt idx="5">
                  <c:v>0.48755572297648175</c:v>
                </c:pt>
                <c:pt idx="6">
                  <c:v>0.0039954133784287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882440708968630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767417367305052</c:v>
                </c:pt>
                <c:pt idx="1">
                  <c:v>0.049921609106733524</c:v>
                </c:pt>
                <c:pt idx="2">
                  <c:v>0.00368559606057033</c:v>
                </c:pt>
                <c:pt idx="3">
                  <c:v>0.442287515213529</c:v>
                </c:pt>
                <c:pt idx="4">
                  <c:v>0.4869122431686509</c:v>
                </c:pt>
                <c:pt idx="5">
                  <c:v>0.01542561908321125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21681402222724067</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287810242930142</c:v>
                </c:pt>
                <c:pt idx="1">
                  <c:v>0.033746952717115544</c:v>
                </c:pt>
                <c:pt idx="2">
                  <c:v>0.1192322273957106</c:v>
                </c:pt>
                <c:pt idx="3">
                  <c:v>0.22555260391768012</c:v>
                </c:pt>
                <c:pt idx="4">
                  <c:v>0.42483219111845827</c:v>
                </c:pt>
                <c:pt idx="5">
                  <c:v>0.1921441325302992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476399280447082</c:v>
                </c:pt>
                <c:pt idx="4">
                  <c:v>0.009166887961390938</c:v>
                </c:pt>
                <c:pt idx="5">
                  <c:v>0.0078493363384589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01818768546174</c:v>
                </c:pt>
                <c:pt idx="4">
                  <c:v>0.016386580516175052</c:v>
                </c:pt>
                <c:pt idx="5">
                  <c:v>0.4916116822395893</c:v>
                </c:pt>
                <c:pt idx="6">
                  <c:v>0.01181986038961826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10003110540656611</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212973106886513</c:v>
                </c:pt>
                <c:pt idx="1">
                  <c:v>0.029687248740982775</c:v>
                </c:pt>
                <c:pt idx="2">
                  <c:v>0.12761672668444915</c:v>
                </c:pt>
                <c:pt idx="3">
                  <c:v>0.2547365973255013</c:v>
                </c:pt>
                <c:pt idx="4">
                  <c:v>0.3968347783462146</c:v>
                </c:pt>
                <c:pt idx="5">
                  <c:v>0.1796172943407806</c:v>
                </c:pt>
                <c:pt idx="6">
                  <c:v>0.00429438145518505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5092500126360661</c:v>
                </c:pt>
                <c:pt idx="4">
                  <c:v>0.011738217493863482</c:v>
                </c:pt>
                <c:pt idx="5">
                  <c:v>0.00779091710623321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957642752446729</c:v>
                </c:pt>
                <c:pt idx="4">
                  <c:v>0.025567123997860344</c:v>
                </c:pt>
                <c:pt idx="5">
                  <c:v>0.4786686007574667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1176336138776839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7586891112466138</c:v>
                </c:pt>
                <c:pt idx="1">
                  <c:v>0.04993752436549746</c:v>
                </c:pt>
                <c:pt idx="2">
                  <c:v>0.0036831885564629794</c:v>
                </c:pt>
                <c:pt idx="3">
                  <c:v>0.44236697687901727</c:v>
                </c:pt>
                <c:pt idx="4">
                  <c:v>0.4868263877087936</c:v>
                </c:pt>
                <c:pt idx="5">
                  <c:v>0.01542723337898219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2168891632263417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10976509875827702</c:v>
                </c:pt>
                <c:pt idx="2">
                  <c:v>0.20959695456476174</c:v>
                </c:pt>
                <c:pt idx="3">
                  <c:v>0.16789242813392036</c:v>
                </c:pt>
                <c:pt idx="4">
                  <c:v>0.332299698436339</c:v>
                </c:pt>
                <c:pt idx="5">
                  <c:v>0.1799606756384347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51006066755415164</c:v>
                </c:pt>
                <c:pt idx="3">
                  <c:v>0.026441561849660927</c:v>
                </c:pt>
                <c:pt idx="4">
                  <c:v>0.08803960684853453</c:v>
                </c:pt>
                <c:pt idx="5">
                  <c:v>0.03889885955327180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35549056946025795</c:v>
                </c:pt>
                <c:pt idx="2">
                  <c:v>0.0421703522495044</c:v>
                </c:pt>
                <c:pt idx="3">
                  <c:v>0.311601878238458</c:v>
                </c:pt>
                <c:pt idx="4">
                  <c:v>0.5525762098466088</c:v>
                </c:pt>
                <c:pt idx="5">
                  <c:v>0.0580848846280230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24146627060464827</c:v>
                </c:pt>
                <c:pt idx="5">
                  <c:v>0.00478608412707870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0188612710984894</c:v>
                </c:pt>
                <c:pt idx="1">
                  <c:v>0.009185168059964095</c:v>
                </c:pt>
                <c:pt idx="2">
                  <c:v>0.09605307737385477</c:v>
                </c:pt>
                <c:pt idx="3">
                  <c:v>0.127049310736117</c:v>
                </c:pt>
                <c:pt idx="4">
                  <c:v>0.3821431582164922</c:v>
                </c:pt>
                <c:pt idx="5">
                  <c:v>0.3825504243424734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681979272081365</c:v>
                </c:pt>
                <c:pt idx="1">
                  <c:v>0.06637081339891499</c:v>
                </c:pt>
                <c:pt idx="2">
                  <c:v>0.2125129507988319</c:v>
                </c:pt>
                <c:pt idx="3">
                  <c:v>0.48743383700972776</c:v>
                </c:pt>
                <c:pt idx="4">
                  <c:v>0.20735317089297553</c:v>
                </c:pt>
                <c:pt idx="5">
                  <c:v>0.009509435178736115</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20187568750277387</c:v>
                </c:pt>
                <c:pt idx="2">
                  <c:v>0.0717167328753057</c:v>
                </c:pt>
                <c:pt idx="3">
                  <c:v>0.18235048082072933</c:v>
                </c:pt>
                <c:pt idx="4">
                  <c:v>0.582867016737845</c:v>
                </c:pt>
                <c:pt idx="5">
                  <c:v>0.15702225463134503</c:v>
                </c:pt>
                <c:pt idx="6">
                  <c:v>0.003851930377276612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5385614196020754</c:v>
                </c:pt>
                <c:pt idx="1">
                  <c:v>0.001562031736386979</c:v>
                </c:pt>
                <c:pt idx="2">
                  <c:v>0.005554790142341344</c:v>
                </c:pt>
                <c:pt idx="3">
                  <c:v>0.03366878548745145</c:v>
                </c:pt>
                <c:pt idx="4">
                  <c:v>0.8884307694542035</c:v>
                </c:pt>
                <c:pt idx="5">
                  <c:v>0.070245061760014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4685993279684305</c:v>
                </c:pt>
                <c:pt idx="1">
                  <c:v>0.10379758187685387</c:v>
                </c:pt>
                <c:pt idx="2">
                  <c:v>0.013305784201201484</c:v>
                </c:pt>
                <c:pt idx="3">
                  <c:v>0.39967783872269125</c:v>
                </c:pt>
                <c:pt idx="4">
                  <c:v>0.46495170435034044</c:v>
                </c:pt>
                <c:pt idx="5">
                  <c:v>0.01679849152094452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1468357751020842</c:v>
                </c:pt>
                <c:pt idx="2">
                  <c:v>0.23538969436701587</c:v>
                </c:pt>
                <c:pt idx="3">
                  <c:v>0.11727718156320037</c:v>
                </c:pt>
                <c:pt idx="4">
                  <c:v>0.2692506097512817</c:v>
                </c:pt>
                <c:pt idx="5">
                  <c:v>0.23036885781261315</c:v>
                </c:pt>
                <c:pt idx="6">
                  <c:v>0.000877881403804728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7831140442375314</c:v>
                </c:pt>
                <c:pt idx="3">
                  <c:v>0.01888234821986699</c:v>
                </c:pt>
                <c:pt idx="4">
                  <c:v>0.07974748276914807</c:v>
                </c:pt>
                <c:pt idx="5">
                  <c:v>0.0515153874663759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4720432630015336</c:v>
                </c:pt>
                <c:pt idx="2">
                  <c:v>0.04855904289934774</c:v>
                </c:pt>
                <c:pt idx="3">
                  <c:v>0.2461867430018222</c:v>
                </c:pt>
                <c:pt idx="4">
                  <c:v>0.6011542181379292</c:v>
                </c:pt>
                <c:pt idx="5">
                  <c:v>0.0568941861852150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4">
                  <c:v>0.004784849183471466</c:v>
                </c:pt>
                <c:pt idx="5">
                  <c:v>0.00556124633252818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24975365598015995</c:v>
                </c:pt>
                <c:pt idx="1">
                  <c:v>0.002659804186462194</c:v>
                </c:pt>
                <c:pt idx="2">
                  <c:v>0.08651067053330841</c:v>
                </c:pt>
                <c:pt idx="3">
                  <c:v>0.12974197681813054</c:v>
                </c:pt>
                <c:pt idx="4">
                  <c:v>0.431716533043907</c:v>
                </c:pt>
                <c:pt idx="5">
                  <c:v>0.346873478858390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5130936481089647</c:v>
                </c:pt>
                <c:pt idx="1">
                  <c:v>0.04588534249801889</c:v>
                </c:pt>
                <c:pt idx="2">
                  <c:v>0.19124469261645943</c:v>
                </c:pt>
                <c:pt idx="3">
                  <c:v>0.5034371051504838</c:v>
                </c:pt>
                <c:pt idx="4">
                  <c:v>0.2325703370616464</c:v>
                </c:pt>
                <c:pt idx="5">
                  <c:v>0.011731586192301809</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21035385751206645</c:v>
                </c:pt>
                <c:pt idx="2">
                  <c:v>0.09217741038031818</c:v>
                </c:pt>
                <c:pt idx="3">
                  <c:v>0.14424491130230155</c:v>
                </c:pt>
                <c:pt idx="4">
                  <c:v>0.5668715104115499</c:v>
                </c:pt>
                <c:pt idx="5">
                  <c:v>0.1937222447665026</c:v>
                </c:pt>
                <c:pt idx="6">
                  <c:v>0.000729579353250075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6420847365305087</c:v>
                </c:pt>
                <c:pt idx="1">
                  <c:v>0.07212740666489881</c:v>
                </c:pt>
                <c:pt idx="2">
                  <c:v>0.1244892210123695</c:v>
                </c:pt>
                <c:pt idx="3">
                  <c:v>0.2247023112171972</c:v>
                </c:pt>
                <c:pt idx="4">
                  <c:v>0.38898127765908436</c:v>
                </c:pt>
                <c:pt idx="5">
                  <c:v>0.169391846515174</c:v>
                </c:pt>
                <c:pt idx="6">
                  <c:v>0.003887089565971113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2450492937243368</c:v>
                </c:pt>
                <c:pt idx="1">
                  <c:v>0.0022320532191512647</c:v>
                </c:pt>
                <c:pt idx="2">
                  <c:v>0.005522170881564549</c:v>
                </c:pt>
                <c:pt idx="3">
                  <c:v>0.03205456820303794</c:v>
                </c:pt>
                <c:pt idx="4">
                  <c:v>0.8468481130844219</c:v>
                </c:pt>
                <c:pt idx="5">
                  <c:v>0.1120980453181001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8551731978846905</c:v>
                </c:pt>
                <c:pt idx="2">
                  <c:v>0.17813299245834574</c:v>
                </c:pt>
                <c:pt idx="3">
                  <c:v>0.21442455324174367</c:v>
                </c:pt>
                <c:pt idx="4">
                  <c:v>0.3344574628371492</c:v>
                </c:pt>
                <c:pt idx="5">
                  <c:v>0.1870363541945138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5935285989812673</c:v>
                </c:pt>
                <c:pt idx="3">
                  <c:v>0.04056330411108755</c:v>
                </c:pt>
                <c:pt idx="4">
                  <c:v>0.09103779430939526</c:v>
                </c:pt>
                <c:pt idx="5">
                  <c:v>0.0432396029543864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2032938893503966</c:v>
                </c:pt>
                <c:pt idx="2">
                  <c:v>0.07261031208333393</c:v>
                </c:pt>
                <c:pt idx="3">
                  <c:v>0.29727869587744465</c:v>
                </c:pt>
                <c:pt idx="4">
                  <c:v>0.5592381183173375</c:v>
                </c:pt>
                <c:pt idx="5">
                  <c:v>0.05042558302015595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31926492326954012</c:v>
                </c:pt>
                <c:pt idx="3">
                  <c:v>0.0021819403811060714</c:v>
                </c:pt>
                <c:pt idx="4">
                  <c:v>0.004899049100515293</c:v>
                </c:pt>
                <c:pt idx="5">
                  <c:v>0.002803493997158453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06737071715712027</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158591712778639</c:v>
                </c:pt>
                <c:pt idx="2">
                  <c:v>0.08453793578882107</c:v>
                </c:pt>
                <c:pt idx="3">
                  <c:v>0.13253867325736088</c:v>
                </c:pt>
                <c:pt idx="4">
                  <c:v>0.37859105977403795</c:v>
                </c:pt>
                <c:pt idx="5">
                  <c:v>0.403348105724409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954809500600187</c:v>
                </c:pt>
                <c:pt idx="1">
                  <c:v>0.06818923396219505</c:v>
                </c:pt>
                <c:pt idx="2">
                  <c:v>0.22875689942069607</c:v>
                </c:pt>
                <c:pt idx="3">
                  <c:v>0.468999383839411</c:v>
                </c:pt>
                <c:pt idx="4">
                  <c:v>0.19053599834963247</c:v>
                </c:pt>
                <c:pt idx="5">
                  <c:v>0.013970389422063575</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3589646021875909</c:v>
                </c:pt>
                <c:pt idx="2">
                  <c:v>0.10153314288048981</c:v>
                </c:pt>
                <c:pt idx="3">
                  <c:v>0.20586609235711967</c:v>
                </c:pt>
                <c:pt idx="4">
                  <c:v>0.555186418708895</c:v>
                </c:pt>
                <c:pt idx="5">
                  <c:v>0.10484566547132006</c:v>
                </c:pt>
                <c:pt idx="6">
                  <c:v>0.0289790345602996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47239854391077266</c:v>
                </c:pt>
                <c:pt idx="4">
                  <c:v>0.8668385919505451</c:v>
                </c:pt>
                <c:pt idx="5">
                  <c:v>0.0853586690376218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4685896170947494</c:v>
                </c:pt>
                <c:pt idx="1">
                  <c:v>0.10381350294445126</c:v>
                </c:pt>
                <c:pt idx="2">
                  <c:v>0.013298932772208446</c:v>
                </c:pt>
                <c:pt idx="3">
                  <c:v>0.3997604721177155</c:v>
                </c:pt>
                <c:pt idx="4">
                  <c:v>0.4648911916763522</c:v>
                </c:pt>
                <c:pt idx="5">
                  <c:v>0.01676731087217775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10976509875827702</c:v>
                </c:pt>
                <c:pt idx="2">
                  <c:v>0.20959695456476174</c:v>
                </c:pt>
                <c:pt idx="3">
                  <c:v>0.16789242813392036</c:v>
                </c:pt>
                <c:pt idx="4">
                  <c:v>0.332299698436339</c:v>
                </c:pt>
                <c:pt idx="5">
                  <c:v>0.1799606756384347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8209817276612301</c:v>
                </c:pt>
                <c:pt idx="2">
                  <c:v>0.05794383094949777</c:v>
                </c:pt>
                <c:pt idx="3">
                  <c:v>0.04270102422085179</c:v>
                </c:pt>
                <c:pt idx="4">
                  <c:v>0.06559091826119108</c:v>
                </c:pt>
                <c:pt idx="5">
                  <c:v>0.01242883612809747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35549056946025795</c:v>
                </c:pt>
                <c:pt idx="2">
                  <c:v>0.0421703522495044</c:v>
                </c:pt>
                <c:pt idx="3">
                  <c:v>0.311601878238458</c:v>
                </c:pt>
                <c:pt idx="4">
                  <c:v>0.5525762098466088</c:v>
                </c:pt>
                <c:pt idx="5">
                  <c:v>0.0580848846280230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0188612710984894</c:v>
                </c:pt>
                <c:pt idx="1">
                  <c:v>0.009185168059964095</c:v>
                </c:pt>
                <c:pt idx="2">
                  <c:v>0.09605307737385477</c:v>
                </c:pt>
                <c:pt idx="3">
                  <c:v>0.127049310736117</c:v>
                </c:pt>
                <c:pt idx="4">
                  <c:v>0.3821431582164922</c:v>
                </c:pt>
                <c:pt idx="5">
                  <c:v>0.3825504243424734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681979272081365</c:v>
                </c:pt>
                <c:pt idx="1">
                  <c:v>0.06637081339891499</c:v>
                </c:pt>
                <c:pt idx="2">
                  <c:v>0.2125129507988319</c:v>
                </c:pt>
                <c:pt idx="3">
                  <c:v>0.48743383700972776</c:v>
                </c:pt>
                <c:pt idx="4">
                  <c:v>0.20735317089297553</c:v>
                </c:pt>
                <c:pt idx="5">
                  <c:v>0.009509435178736115</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4548842588316658</c:v>
                </c:pt>
                <c:pt idx="3">
                  <c:v>0.002358121499940534</c:v>
                </c:pt>
                <c:pt idx="4">
                  <c:v>0.008125951244983012</c:v>
                </c:pt>
                <c:pt idx="5">
                  <c:v>0.00401291823705098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20187568750277387</c:v>
                </c:pt>
                <c:pt idx="2">
                  <c:v>0.0717167328753057</c:v>
                </c:pt>
                <c:pt idx="3">
                  <c:v>0.18235048082072933</c:v>
                </c:pt>
                <c:pt idx="4">
                  <c:v>0.582867016737845</c:v>
                </c:pt>
                <c:pt idx="5">
                  <c:v>0.15702225463134503</c:v>
                </c:pt>
                <c:pt idx="6">
                  <c:v>0.003851930377276612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5385614196020754</c:v>
                </c:pt>
                <c:pt idx="1">
                  <c:v>0.001562031736386979</c:v>
                </c:pt>
                <c:pt idx="2">
                  <c:v>0.005554790142341344</c:v>
                </c:pt>
                <c:pt idx="3">
                  <c:v>0.03366878548745145</c:v>
                </c:pt>
                <c:pt idx="4">
                  <c:v>0.8884307694542035</c:v>
                </c:pt>
                <c:pt idx="5">
                  <c:v>0.070245061760014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4685993279684305</c:v>
                </c:pt>
                <c:pt idx="1">
                  <c:v>0.10379758187685387</c:v>
                </c:pt>
                <c:pt idx="2">
                  <c:v>0.013305784201201484</c:v>
                </c:pt>
                <c:pt idx="3">
                  <c:v>0.39967783872269125</c:v>
                </c:pt>
                <c:pt idx="4">
                  <c:v>0.46495170435034044</c:v>
                </c:pt>
                <c:pt idx="5">
                  <c:v>0.01679849152094452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1468357751020842</c:v>
                </c:pt>
                <c:pt idx="2">
                  <c:v>0.23538969436701587</c:v>
                </c:pt>
                <c:pt idx="3">
                  <c:v>0.11727718156320037</c:v>
                </c:pt>
                <c:pt idx="4">
                  <c:v>0.2692506097512817</c:v>
                </c:pt>
                <c:pt idx="5">
                  <c:v>0.23036885781261315</c:v>
                </c:pt>
                <c:pt idx="6">
                  <c:v>0.000877881403804728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9266040284708145</c:v>
                </c:pt>
                <c:pt idx="2">
                  <c:v>0.07780055435957021</c:v>
                </c:pt>
                <c:pt idx="3">
                  <c:v>0.00862511242815835</c:v>
                </c:pt>
                <c:pt idx="4">
                  <c:v>0.08428422334642685</c:v>
                </c:pt>
                <c:pt idx="5">
                  <c:v>0.01507739601767688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4720432630015336</c:v>
                </c:pt>
                <c:pt idx="2">
                  <c:v>0.04855904289934774</c:v>
                </c:pt>
                <c:pt idx="3">
                  <c:v>0.2461867430018222</c:v>
                </c:pt>
                <c:pt idx="4">
                  <c:v>0.6011542181379292</c:v>
                </c:pt>
                <c:pt idx="5">
                  <c:v>0.0568941861852150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24975365598015995</c:v>
                </c:pt>
                <c:pt idx="1">
                  <c:v>0.002659804186462194</c:v>
                </c:pt>
                <c:pt idx="2">
                  <c:v>0.08651067053330841</c:v>
                </c:pt>
                <c:pt idx="3">
                  <c:v>0.12974197681813054</c:v>
                </c:pt>
                <c:pt idx="4">
                  <c:v>0.431716533043907</c:v>
                </c:pt>
                <c:pt idx="5">
                  <c:v>0.346873478858390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5130936481089647</c:v>
                </c:pt>
                <c:pt idx="1">
                  <c:v>0.04588534249801889</c:v>
                </c:pt>
                <c:pt idx="2">
                  <c:v>0.19124469261645943</c:v>
                </c:pt>
                <c:pt idx="3">
                  <c:v>0.5034371051504838</c:v>
                </c:pt>
                <c:pt idx="4">
                  <c:v>0.2325703370616464</c:v>
                </c:pt>
                <c:pt idx="5">
                  <c:v>0.011731586192301809</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21035385751206645</c:v>
                </c:pt>
                <c:pt idx="2">
                  <c:v>0.09217741038031818</c:v>
                </c:pt>
                <c:pt idx="3">
                  <c:v>0.14424491130230155</c:v>
                </c:pt>
                <c:pt idx="4">
                  <c:v>0.5668715104115499</c:v>
                </c:pt>
                <c:pt idx="5">
                  <c:v>0.1937222447665026</c:v>
                </c:pt>
                <c:pt idx="6">
                  <c:v>0.000729579353250075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2450492937243368</c:v>
                </c:pt>
                <c:pt idx="1">
                  <c:v>0.0022320532191512647</c:v>
                </c:pt>
                <c:pt idx="2">
                  <c:v>0.005522170881564549</c:v>
                </c:pt>
                <c:pt idx="3">
                  <c:v>0.03205456820303794</c:v>
                </c:pt>
                <c:pt idx="4">
                  <c:v>0.8468481130844219</c:v>
                </c:pt>
                <c:pt idx="5">
                  <c:v>0.1120980453181001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8551731978846905</c:v>
                </c:pt>
                <c:pt idx="2">
                  <c:v>0.17813299245834574</c:v>
                </c:pt>
                <c:pt idx="3">
                  <c:v>0.21442455324174367</c:v>
                </c:pt>
                <c:pt idx="4">
                  <c:v>0.3344574628371492</c:v>
                </c:pt>
                <c:pt idx="5">
                  <c:v>0.1870363541945138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8551731978846905</c:v>
                </c:pt>
                <c:pt idx="2">
                  <c:v>0.07509989132561243</c:v>
                </c:pt>
                <c:pt idx="3">
                  <c:v>0.028439093690432658</c:v>
                </c:pt>
                <c:pt idx="4">
                  <c:v>0.09475556456907686</c:v>
                </c:pt>
                <c:pt idx="5">
                  <c:v>0.00598298083295179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2032938893503966</c:v>
                </c:pt>
                <c:pt idx="2">
                  <c:v>0.07261031208333393</c:v>
                </c:pt>
                <c:pt idx="3">
                  <c:v>0.29727869587744465</c:v>
                </c:pt>
                <c:pt idx="4">
                  <c:v>0.5592381183173375</c:v>
                </c:pt>
                <c:pt idx="5">
                  <c:v>0.05042558302015595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158591712778639</c:v>
                </c:pt>
                <c:pt idx="2">
                  <c:v>0.08453793578882107</c:v>
                </c:pt>
                <c:pt idx="3">
                  <c:v>0.13253867325736088</c:v>
                </c:pt>
                <c:pt idx="4">
                  <c:v>0.37859105977403795</c:v>
                </c:pt>
                <c:pt idx="5">
                  <c:v>0.403348105724409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954809500600187</c:v>
                </c:pt>
                <c:pt idx="1">
                  <c:v>0.06818923396219505</c:v>
                </c:pt>
                <c:pt idx="2">
                  <c:v>0.22875689942069607</c:v>
                </c:pt>
                <c:pt idx="3">
                  <c:v>0.468999383839411</c:v>
                </c:pt>
                <c:pt idx="4">
                  <c:v>0.19053599834963247</c:v>
                </c:pt>
                <c:pt idx="5">
                  <c:v>0.013970389422063575</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3589646021875909</c:v>
                </c:pt>
                <c:pt idx="2">
                  <c:v>0.10153314288048981</c:v>
                </c:pt>
                <c:pt idx="3">
                  <c:v>0.20586609235711967</c:v>
                </c:pt>
                <c:pt idx="4">
                  <c:v>0.555186418708895</c:v>
                </c:pt>
                <c:pt idx="5">
                  <c:v>0.10484566547132006</c:v>
                </c:pt>
                <c:pt idx="6">
                  <c:v>0.0289790345602996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47239854391077266</c:v>
                </c:pt>
                <c:pt idx="4">
                  <c:v>0.8668385919505451</c:v>
                </c:pt>
                <c:pt idx="5">
                  <c:v>0.0853586690376218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4685896170947494</c:v>
                </c:pt>
                <c:pt idx="1">
                  <c:v>0.10381350294445126</c:v>
                </c:pt>
                <c:pt idx="2">
                  <c:v>0.013298932772208446</c:v>
                </c:pt>
                <c:pt idx="3">
                  <c:v>0.3997604721177155</c:v>
                </c:pt>
                <c:pt idx="4">
                  <c:v>0.4648911916763522</c:v>
                </c:pt>
                <c:pt idx="5">
                  <c:v>0.01676731087217775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10976509875827702</c:v>
                </c:pt>
                <c:pt idx="2">
                  <c:v>0.20959695456476174</c:v>
                </c:pt>
                <c:pt idx="3">
                  <c:v>0.16789242813392036</c:v>
                </c:pt>
                <c:pt idx="4">
                  <c:v>0.332299698436339</c:v>
                </c:pt>
                <c:pt idx="5">
                  <c:v>0.1799606756384347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35549056946025795</c:v>
                </c:pt>
                <c:pt idx="2">
                  <c:v>0.0421703522495044</c:v>
                </c:pt>
                <c:pt idx="3">
                  <c:v>0.311601878238458</c:v>
                </c:pt>
                <c:pt idx="4">
                  <c:v>0.5525762098466088</c:v>
                </c:pt>
                <c:pt idx="5">
                  <c:v>0.0580848846280230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8781125735843562</c:v>
                </c:pt>
                <c:pt idx="4">
                  <c:v>0.06019637768951337</c:v>
                </c:pt>
                <c:pt idx="5">
                  <c:v>0.014280907872894471</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30188612710984894</c:v>
                </c:pt>
                <c:pt idx="1">
                  <c:v>0.009185168059964095</c:v>
                </c:pt>
                <c:pt idx="2">
                  <c:v>0.09605307737385477</c:v>
                </c:pt>
                <c:pt idx="3">
                  <c:v>0.127049310736117</c:v>
                </c:pt>
                <c:pt idx="4">
                  <c:v>0.3821431582164922</c:v>
                </c:pt>
                <c:pt idx="5">
                  <c:v>0.3825504243424734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10495589308745433</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681979272081365</c:v>
                </c:pt>
                <c:pt idx="1">
                  <c:v>0.06637081339891499</c:v>
                </c:pt>
                <c:pt idx="2">
                  <c:v>0.2125129507988319</c:v>
                </c:pt>
                <c:pt idx="3">
                  <c:v>0.48743383700972776</c:v>
                </c:pt>
                <c:pt idx="4">
                  <c:v>0.20735317089297553</c:v>
                </c:pt>
                <c:pt idx="5">
                  <c:v>0.009509435178736115</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20187568750277387</c:v>
                </c:pt>
                <c:pt idx="2">
                  <c:v>0.0717167328753057</c:v>
                </c:pt>
                <c:pt idx="3">
                  <c:v>0.18235048082072933</c:v>
                </c:pt>
                <c:pt idx="4">
                  <c:v>0.582867016737845</c:v>
                </c:pt>
                <c:pt idx="5">
                  <c:v>0.15702225463134503</c:v>
                </c:pt>
                <c:pt idx="6">
                  <c:v>0.003851930377276612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231895951980347</c:v>
                </c:pt>
                <c:pt idx="1">
                  <c:v>0.04329334864300062</c:v>
                </c:pt>
                <c:pt idx="2">
                  <c:v>0.11709217419730092</c:v>
                </c:pt>
                <c:pt idx="3">
                  <c:v>0.24465734611122858</c:v>
                </c:pt>
                <c:pt idx="4">
                  <c:v>0.3932089346459883</c:v>
                </c:pt>
                <c:pt idx="5">
                  <c:v>0.19339064677164633</c:v>
                </c:pt>
                <c:pt idx="6">
                  <c:v>0.001125653678854936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05385614196020754</c:v>
                </c:pt>
                <c:pt idx="1">
                  <c:v>0.001562031736386979</c:v>
                </c:pt>
                <c:pt idx="2">
                  <c:v>0.005554790142341344</c:v>
                </c:pt>
                <c:pt idx="3">
                  <c:v>0.03366878548745145</c:v>
                </c:pt>
                <c:pt idx="4">
                  <c:v>0.8884307694542035</c:v>
                </c:pt>
                <c:pt idx="5">
                  <c:v>0.0702450617600147</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4685993279684305</c:v>
                </c:pt>
                <c:pt idx="1">
                  <c:v>0.10379758187685387</c:v>
                </c:pt>
                <c:pt idx="2">
                  <c:v>0.013305784201201484</c:v>
                </c:pt>
                <c:pt idx="3">
                  <c:v>0.39967783872269125</c:v>
                </c:pt>
                <c:pt idx="4">
                  <c:v>0.46495170435034044</c:v>
                </c:pt>
                <c:pt idx="5">
                  <c:v>0.01679849152094452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1468357751020842</c:v>
                </c:pt>
                <c:pt idx="2">
                  <c:v>0.23538969436701587</c:v>
                </c:pt>
                <c:pt idx="3">
                  <c:v>0.11727718156320037</c:v>
                </c:pt>
                <c:pt idx="4">
                  <c:v>0.2692506097512817</c:v>
                </c:pt>
                <c:pt idx="5">
                  <c:v>0.23036885781261315</c:v>
                </c:pt>
                <c:pt idx="6">
                  <c:v>0.000877881403804728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4720432630015336</c:v>
                </c:pt>
                <c:pt idx="2">
                  <c:v>0.04855904289934774</c:v>
                </c:pt>
                <c:pt idx="3">
                  <c:v>0.2461867430018222</c:v>
                </c:pt>
                <c:pt idx="4">
                  <c:v>0.6011542181379292</c:v>
                </c:pt>
                <c:pt idx="5">
                  <c:v>0.0568941861852150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7321710699480095</c:v>
                </c:pt>
                <c:pt idx="2">
                  <c:v>0.005167568932872345</c:v>
                </c:pt>
                <c:pt idx="3">
                  <c:v>0.0038081791029285724</c:v>
                </c:pt>
                <c:pt idx="4">
                  <c:v>0.005849584961559116</c:v>
                </c:pt>
                <c:pt idx="5">
                  <c:v>0.001108433225674986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1852628303944447</c:v>
                </c:pt>
                <c:pt idx="4">
                  <c:v>0.06857874750025944</c:v>
                </c:pt>
                <c:pt idx="5">
                  <c:v>0.0152514096557669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24975365598015995</c:v>
                </c:pt>
                <c:pt idx="1">
                  <c:v>0.002659804186462194</c:v>
                </c:pt>
                <c:pt idx="2">
                  <c:v>0.08651067053330841</c:v>
                </c:pt>
                <c:pt idx="3">
                  <c:v>0.12974197681813054</c:v>
                </c:pt>
                <c:pt idx="4">
                  <c:v>0.431716533043907</c:v>
                </c:pt>
                <c:pt idx="5">
                  <c:v>0.346873478858390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16144620862610648</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5130936481089647</c:v>
                </c:pt>
                <c:pt idx="1">
                  <c:v>0.04588534249801889</c:v>
                </c:pt>
                <c:pt idx="2">
                  <c:v>0.19124469261645943</c:v>
                </c:pt>
                <c:pt idx="3">
                  <c:v>0.5034371051504838</c:v>
                </c:pt>
                <c:pt idx="4">
                  <c:v>0.2325703370616464</c:v>
                </c:pt>
                <c:pt idx="5">
                  <c:v>0.011731586192301809</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21035385751206645</c:v>
                </c:pt>
                <c:pt idx="2">
                  <c:v>0.09217741038031818</c:v>
                </c:pt>
                <c:pt idx="3">
                  <c:v>0.14424491130230155</c:v>
                </c:pt>
                <c:pt idx="4">
                  <c:v>0.5668715104115499</c:v>
                </c:pt>
                <c:pt idx="5">
                  <c:v>0.1937222447665026</c:v>
                </c:pt>
                <c:pt idx="6">
                  <c:v>0.000729579353250075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2450492937243368</c:v>
                </c:pt>
                <c:pt idx="1">
                  <c:v>0.0022320532191512647</c:v>
                </c:pt>
                <c:pt idx="2">
                  <c:v>0.005522170881564549</c:v>
                </c:pt>
                <c:pt idx="3">
                  <c:v>0.03205456820303794</c:v>
                </c:pt>
                <c:pt idx="4">
                  <c:v>0.8468481130844219</c:v>
                </c:pt>
                <c:pt idx="5">
                  <c:v>0.11209804531810012</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8551731978846905</c:v>
                </c:pt>
                <c:pt idx="2">
                  <c:v>0.17813299245834574</c:v>
                </c:pt>
                <c:pt idx="3">
                  <c:v>0.21442455324174367</c:v>
                </c:pt>
                <c:pt idx="4">
                  <c:v>0.3344574628371492</c:v>
                </c:pt>
                <c:pt idx="5">
                  <c:v>0.1870363541945138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2032938893503966</c:v>
                </c:pt>
                <c:pt idx="2">
                  <c:v>0.07261031208333393</c:v>
                </c:pt>
                <c:pt idx="3">
                  <c:v>0.29727869587744465</c:v>
                </c:pt>
                <c:pt idx="4">
                  <c:v>0.5592381183173375</c:v>
                </c:pt>
                <c:pt idx="5">
                  <c:v>0.05042558302015595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3408651215058535</c:v>
                </c:pt>
                <c:pt idx="4">
                  <c:v>0.07856944198383985</c:v>
                </c:pt>
                <c:pt idx="5">
                  <c:v>0.02214295437656293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05158591712778639</c:v>
                </c:pt>
                <c:pt idx="2">
                  <c:v>0.08453793578882107</c:v>
                </c:pt>
                <c:pt idx="3">
                  <c:v>0.13253867325736088</c:v>
                </c:pt>
                <c:pt idx="4">
                  <c:v>0.37859105977403795</c:v>
                </c:pt>
                <c:pt idx="5">
                  <c:v>0.403348105724409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5">
                  <c:v>0.013959256924153805</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2954809500600187</c:v>
                </c:pt>
                <c:pt idx="1">
                  <c:v>0.06818923396219505</c:v>
                </c:pt>
                <c:pt idx="2">
                  <c:v>0.22875689942069607</c:v>
                </c:pt>
                <c:pt idx="3">
                  <c:v>0.468999383839411</c:v>
                </c:pt>
                <c:pt idx="4">
                  <c:v>0.19053599834963247</c:v>
                </c:pt>
                <c:pt idx="5">
                  <c:v>0.013970389422063575</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3589646021875909</c:v>
                </c:pt>
                <c:pt idx="2">
                  <c:v>0.10153314288048981</c:v>
                </c:pt>
                <c:pt idx="3">
                  <c:v>0.20586609235711967</c:v>
                </c:pt>
                <c:pt idx="4">
                  <c:v>0.555186418708895</c:v>
                </c:pt>
                <c:pt idx="5">
                  <c:v>0.10484566547132006</c:v>
                </c:pt>
                <c:pt idx="6">
                  <c:v>0.0289790345602996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47239854391077266</c:v>
                </c:pt>
                <c:pt idx="4">
                  <c:v>0.8668385919505451</c:v>
                </c:pt>
                <c:pt idx="5">
                  <c:v>0.0853586690376218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4685896170947494</c:v>
                </c:pt>
                <c:pt idx="1">
                  <c:v>0.10381350294445126</c:v>
                </c:pt>
                <c:pt idx="2">
                  <c:v>0.013298932772208446</c:v>
                </c:pt>
                <c:pt idx="3">
                  <c:v>0.3997604721177155</c:v>
                </c:pt>
                <c:pt idx="4">
                  <c:v>0.4648911916763522</c:v>
                </c:pt>
                <c:pt idx="5">
                  <c:v>0.01676731087217775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4</c:v>
                </c:pt>
                <c:pt idx="1">
                  <c:v>0.03211926582893042</c:v>
                </c:pt>
                <c:pt idx="2">
                  <c:v>0.11348140494937228</c:v>
                </c:pt>
                <c:pt idx="3">
                  <c:v>0.2358959959748086</c:v>
                </c:pt>
                <c:pt idx="4">
                  <c:v>0.40814205728880376</c:v>
                </c:pt>
                <c:pt idx="5">
                  <c:v>0.20556364616861456</c:v>
                </c:pt>
                <c:pt idx="6">
                  <c:v>0.000716629701221364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9611683486752821</c:v>
                </c:pt>
                <c:pt idx="2">
                  <c:v>0.008070268211894027</c:v>
                </c:pt>
                <c:pt idx="3">
                  <c:v>0.0008946847644719398</c:v>
                </c:pt>
                <c:pt idx="4">
                  <c:v>0.008742820588310812</c:v>
                </c:pt>
                <c:pt idx="5">
                  <c:v>0.001563981526882625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6420847365305087</c:v>
                </c:pt>
                <c:pt idx="1">
                  <c:v>0.07212740666489881</c:v>
                </c:pt>
                <c:pt idx="2">
                  <c:v>0.1244892210123695</c:v>
                </c:pt>
                <c:pt idx="3">
                  <c:v>0.2247023112171972</c:v>
                </c:pt>
                <c:pt idx="4">
                  <c:v>0.38898127765908436</c:v>
                </c:pt>
                <c:pt idx="5">
                  <c:v>0.169391846515174</c:v>
                </c:pt>
                <c:pt idx="6">
                  <c:v>0.003887089565971113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4600061494483101</c:v>
                </c:pt>
                <c:pt idx="2">
                  <c:v>0.004039697679737115</c:v>
                </c:pt>
                <c:pt idx="3">
                  <c:v>0.0015297670711260558</c:v>
                </c:pt>
                <c:pt idx="4">
                  <c:v>0.005097125324787418</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231895951980347</c:v>
                </c:pt>
                <c:pt idx="1">
                  <c:v>0.04329334864300062</c:v>
                </c:pt>
                <c:pt idx="2">
                  <c:v>0.11709217419730092</c:v>
                </c:pt>
                <c:pt idx="3">
                  <c:v>0.24465734611122858</c:v>
                </c:pt>
                <c:pt idx="4">
                  <c:v>0.3932089346459883</c:v>
                </c:pt>
                <c:pt idx="5">
                  <c:v>0.19339064677164633</c:v>
                </c:pt>
                <c:pt idx="6">
                  <c:v>0.0011256536788549366</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1340306491206915</c:v>
                </c:pt>
                <c:pt idx="4">
                  <c:v>0.0069850614376141835</c:v>
                </c:pt>
                <c:pt idx="5">
                  <c:v>0.00782848589355265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4</c:v>
                </c:pt>
                <c:pt idx="1">
                  <c:v>0.03211926582893042</c:v>
                </c:pt>
                <c:pt idx="2">
                  <c:v>0.11348140494937228</c:v>
                </c:pt>
                <c:pt idx="3">
                  <c:v>0.2358959959748086</c:v>
                </c:pt>
                <c:pt idx="4">
                  <c:v>0.40814205728880376</c:v>
                </c:pt>
                <c:pt idx="5">
                  <c:v>0.20556364616861456</c:v>
                </c:pt>
                <c:pt idx="6">
                  <c:v>0.000716629701221364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3569573067529505</c:v>
                </c:pt>
                <c:pt idx="4">
                  <c:v>0.008897944805083643</c:v>
                </c:pt>
                <c:pt idx="5">
                  <c:v>0.0118917799932748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16420847365305087</c:v>
                </c:pt>
                <c:pt idx="1">
                  <c:v>0.07212740666489881</c:v>
                </c:pt>
                <c:pt idx="2">
                  <c:v>0.1244892210123695</c:v>
                </c:pt>
                <c:pt idx="3">
                  <c:v>0.2247023112171972</c:v>
                </c:pt>
                <c:pt idx="4">
                  <c:v>0.38898127765908436</c:v>
                </c:pt>
                <c:pt idx="5">
                  <c:v>0.169391846515174</c:v>
                </c:pt>
                <c:pt idx="6">
                  <c:v>0.003887089565971113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00241640211301618</c:v>
                </c:pt>
                <c:pt idx="4">
                  <c:v>0.006047985966698131</c:v>
                </c:pt>
                <c:pt idx="5">
                  <c:v>0.00694214989959178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9224311620665</c:v>
                </c:pt>
                <c:pt idx="1">
                  <c:v>0.035024228602596755</c:v>
                </c:pt>
                <c:pt idx="2">
                  <c:v>0.12071333981810425</c:v>
                </c:pt>
                <c:pt idx="3">
                  <c:v>0.24391384913602115</c:v>
                </c:pt>
                <c:pt idx="4">
                  <c:v>0.4069563476723372</c:v>
                </c:pt>
                <c:pt idx="5">
                  <c:v>0.18782239145357105</c:v>
                </c:pt>
                <c:pt idx="6">
                  <c:v>0.000647412155303103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538343293143894</c:v>
                </c:pt>
                <c:pt idx="3">
                  <c:v>0.0027907734094205897</c:v>
                </c:pt>
                <c:pt idx="4">
                  <c:v>0.009616844874752466</c:v>
                </c:pt>
                <c:pt idx="5">
                  <c:v>0.00474918086723829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584762365277406</c:v>
                </c:pt>
                <c:pt idx="4">
                  <c:v>0.02239225026376474</c:v>
                </c:pt>
                <c:pt idx="5">
                  <c:v>0.48755572297648175</c:v>
                </c:pt>
                <c:pt idx="6">
                  <c:v>0.0039954133784287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767417367305052</c:v>
                </c:pt>
                <c:pt idx="1">
                  <c:v>0.049921609106733524</c:v>
                </c:pt>
                <c:pt idx="2">
                  <c:v>0.00368559606057033</c:v>
                </c:pt>
                <c:pt idx="3">
                  <c:v>0.442287515213529</c:v>
                </c:pt>
                <c:pt idx="4">
                  <c:v>0.4869122431686509</c:v>
                </c:pt>
                <c:pt idx="5">
                  <c:v>0.01542561908321125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287810242930142</c:v>
                </c:pt>
                <c:pt idx="1">
                  <c:v>0.033746952717115544</c:v>
                </c:pt>
                <c:pt idx="2">
                  <c:v>0.1192322273957106</c:v>
                </c:pt>
                <c:pt idx="3">
                  <c:v>0.22555260391768012</c:v>
                </c:pt>
                <c:pt idx="4">
                  <c:v>0.42483219111845827</c:v>
                </c:pt>
                <c:pt idx="5">
                  <c:v>0.1921441325302992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8534915836828727</c:v>
                </c:pt>
                <c:pt idx="3">
                  <c:v>0.0020579282678446667</c:v>
                </c:pt>
                <c:pt idx="4">
                  <c:v>0.009331018011554821</c:v>
                </c:pt>
                <c:pt idx="5">
                  <c:v>0.006357870587301926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01818768546174</c:v>
                </c:pt>
                <c:pt idx="4">
                  <c:v>0.016386580516175052</c:v>
                </c:pt>
                <c:pt idx="5">
                  <c:v>0.4916116822395893</c:v>
                </c:pt>
                <c:pt idx="6">
                  <c:v>0.011819860389618268</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7212973106886513</c:v>
                </c:pt>
                <c:pt idx="1">
                  <c:v>0.029687248740982775</c:v>
                </c:pt>
                <c:pt idx="2">
                  <c:v>0.12761672668444915</c:v>
                </c:pt>
                <c:pt idx="3">
                  <c:v>0.2547365973255013</c:v>
                </c:pt>
                <c:pt idx="4">
                  <c:v>0.3968347783462146</c:v>
                </c:pt>
                <c:pt idx="5">
                  <c:v>0.1796172943407806</c:v>
                </c:pt>
                <c:pt idx="6">
                  <c:v>0.00429438145518505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081000088249014</c:v>
                </c:pt>
                <c:pt idx="1">
                  <c:v>0.03211926582893042</c:v>
                </c:pt>
                <c:pt idx="2">
                  <c:v>0.11348140494937228</c:v>
                </c:pt>
                <c:pt idx="3">
                  <c:v>0.2358959959748086</c:v>
                </c:pt>
                <c:pt idx="4">
                  <c:v>0.40814205728880376</c:v>
                </c:pt>
                <c:pt idx="5">
                  <c:v>0.20556364616861456</c:v>
                </c:pt>
                <c:pt idx="6">
                  <c:v>0.0007166297012213648</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2">
                  <c:v>0.006728419302958015</c:v>
                </c:pt>
                <c:pt idx="3">
                  <c:v>0.004598378559032363</c:v>
                </c:pt>
                <c:pt idx="4">
                  <c:v>0.010324609479951303</c:v>
                </c:pt>
                <c:pt idx="5">
                  <c:v>0.00590828548687218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957642752446729</c:v>
                </c:pt>
                <c:pt idx="4">
                  <c:v>0.025567123997860344</c:v>
                </c:pt>
                <c:pt idx="5">
                  <c:v>0.47866860075746676</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17586891112466138</c:v>
                </c:pt>
                <c:pt idx="1">
                  <c:v>0.04993752436549746</c:v>
                </c:pt>
                <c:pt idx="2">
                  <c:v>0.0036831885564629794</c:v>
                </c:pt>
                <c:pt idx="3">
                  <c:v>0.44236697687901727</c:v>
                </c:pt>
                <c:pt idx="4">
                  <c:v>0.4868263877087936</c:v>
                </c:pt>
                <c:pt idx="5">
                  <c:v>0.015427233378982198</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0">
                  <c:v>0.0049224311620665</c:v>
                </c:pt>
                <c:pt idx="1">
                  <c:v>0.035024228602596755</c:v>
                </c:pt>
                <c:pt idx="2">
                  <c:v>0.12071333981810425</c:v>
                </c:pt>
                <c:pt idx="3">
                  <c:v>0.24391384913602115</c:v>
                </c:pt>
                <c:pt idx="4">
                  <c:v>0.4069563476723372</c:v>
                </c:pt>
                <c:pt idx="5">
                  <c:v>0.18782239145357105</c:v>
                </c:pt>
                <c:pt idx="6">
                  <c:v>0.000647412155303103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1">
                  <c:v>0.00866504780694911</c:v>
                </c:pt>
                <c:pt idx="2">
                  <c:v>0.006115678928999946</c:v>
                </c:pt>
                <c:pt idx="3">
                  <c:v>0.004506877605344856</c:v>
                </c:pt>
                <c:pt idx="4">
                  <c:v>0.0069227904018521035</c:v>
                </c:pt>
                <c:pt idx="5">
                  <c:v>0.001311800928158303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8</c:f>
              <c:numCache>
                <c:formatCode>General</c:formatCode>
                <c:ptCount val="7"/>
                <c:pt idx="3">
                  <c:v>0.48584762365277406</c:v>
                </c:pt>
                <c:pt idx="4">
                  <c:v>0.02239225026376474</c:v>
                </c:pt>
                <c:pt idx="5">
                  <c:v>0.48755572297648175</c:v>
                </c:pt>
                <c:pt idx="6">
                  <c:v>0.0039954133784287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8/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1.xml"/><Relationship Id="rId7" Type="http://schemas.openxmlformats.org/officeDocument/2006/relationships/chart" Target="../charts/chart82.xml"/><Relationship Id="rId8" Type="http://schemas.openxmlformats.org/officeDocument/2006/relationships/chart" Target="../charts/chart83.xml"/><Relationship Id="rId9" Type="http://schemas.openxmlformats.org/officeDocument/2006/relationships/chart" Target="../charts/chart84.xml"/><Relationship Id="rId10" Type="http://schemas.openxmlformats.org/officeDocument/2006/relationships/chart" Target="../charts/chart85.xml"/><Relationship Id="rId11" Type="http://schemas.openxmlformats.org/officeDocument/2006/relationships/chart" Target="../charts/chart86.xml"/><Relationship Id="rId12" Type="http://schemas.openxmlformats.org/officeDocument/2006/relationships/chart" Target="../charts/chart87.xml"/><Relationship Id="rId13" Type="http://schemas.openxmlformats.org/officeDocument/2006/relationships/chart" Target="../charts/chart88.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 Id="rId7" Type="http://schemas.openxmlformats.org/officeDocument/2006/relationships/chart" Target="../charts/chart90.xml"/><Relationship Id="rId8" Type="http://schemas.openxmlformats.org/officeDocument/2006/relationships/chart" Target="../charts/chart91.xml"/><Relationship Id="rId9" Type="http://schemas.openxmlformats.org/officeDocument/2006/relationships/chart" Target="../charts/chart92.xml"/><Relationship Id="rId10" Type="http://schemas.openxmlformats.org/officeDocument/2006/relationships/chart" Target="../charts/chart93.xml"/><Relationship Id="rId11" Type="http://schemas.openxmlformats.org/officeDocument/2006/relationships/chart" Target="../charts/chart94.xml"/><Relationship Id="rId12" Type="http://schemas.openxmlformats.org/officeDocument/2006/relationships/chart" Target="../charts/chart95.xml"/><Relationship Id="rId13" Type="http://schemas.openxmlformats.org/officeDocument/2006/relationships/chart" Target="../charts/chart96.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5.xml"/><Relationship Id="rId7" Type="http://schemas.openxmlformats.org/officeDocument/2006/relationships/chart" Target="../charts/chart106.xml"/><Relationship Id="rId8" Type="http://schemas.openxmlformats.org/officeDocument/2006/relationships/chart" Target="../charts/chart107.xml"/><Relationship Id="rId9" Type="http://schemas.openxmlformats.org/officeDocument/2006/relationships/chart" Target="../charts/chart108.xml"/><Relationship Id="rId10" Type="http://schemas.openxmlformats.org/officeDocument/2006/relationships/chart" Target="../charts/chart109.xml"/><Relationship Id="rId11" Type="http://schemas.openxmlformats.org/officeDocument/2006/relationships/chart" Target="../charts/chart110.xml"/><Relationship Id="rId12" Type="http://schemas.openxmlformats.org/officeDocument/2006/relationships/chart" Target="../charts/chart111.xml"/><Relationship Id="rId13" Type="http://schemas.openxmlformats.org/officeDocument/2006/relationships/chart" Target="../charts/chart112.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3.xml"/><Relationship Id="rId7" Type="http://schemas.openxmlformats.org/officeDocument/2006/relationships/chart" Target="../charts/chart114.xml"/><Relationship Id="rId8" Type="http://schemas.openxmlformats.org/officeDocument/2006/relationships/chart" Target="../charts/chart115.xml"/><Relationship Id="rId9" Type="http://schemas.openxmlformats.org/officeDocument/2006/relationships/chart" Target="../charts/chart116.xml"/><Relationship Id="rId10" Type="http://schemas.openxmlformats.org/officeDocument/2006/relationships/chart" Target="../charts/chart117.xml"/><Relationship Id="rId11" Type="http://schemas.openxmlformats.org/officeDocument/2006/relationships/chart" Target="../charts/chart118.xml"/><Relationship Id="rId12" Type="http://schemas.openxmlformats.org/officeDocument/2006/relationships/chart" Target="../charts/chart119.xml"/><Relationship Id="rId13" Type="http://schemas.openxmlformats.org/officeDocument/2006/relationships/chart" Target="../charts/chart12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9.xml"/><Relationship Id="rId7" Type="http://schemas.openxmlformats.org/officeDocument/2006/relationships/chart" Target="../charts/chart130.xml"/><Relationship Id="rId8" Type="http://schemas.openxmlformats.org/officeDocument/2006/relationships/chart" Target="../charts/chart131.xml"/><Relationship Id="rId9" Type="http://schemas.openxmlformats.org/officeDocument/2006/relationships/chart" Target="../charts/chart132.xml"/><Relationship Id="rId10" Type="http://schemas.openxmlformats.org/officeDocument/2006/relationships/chart" Target="../charts/chart133.xml"/><Relationship Id="rId11" Type="http://schemas.openxmlformats.org/officeDocument/2006/relationships/chart" Target="../charts/chart134.xml"/><Relationship Id="rId12" Type="http://schemas.openxmlformats.org/officeDocument/2006/relationships/chart" Target="../charts/chart135.xml"/><Relationship Id="rId13" Type="http://schemas.openxmlformats.org/officeDocument/2006/relationships/chart" Target="../charts/chart136.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7.xml"/><Relationship Id="rId7" Type="http://schemas.openxmlformats.org/officeDocument/2006/relationships/chart" Target="../charts/chart138.xml"/><Relationship Id="rId8" Type="http://schemas.openxmlformats.org/officeDocument/2006/relationships/chart" Target="../charts/chart139.xml"/><Relationship Id="rId9" Type="http://schemas.openxmlformats.org/officeDocument/2006/relationships/chart" Target="../charts/chart140.xml"/><Relationship Id="rId10" Type="http://schemas.openxmlformats.org/officeDocument/2006/relationships/chart" Target="../charts/chart141.xml"/><Relationship Id="rId11" Type="http://schemas.openxmlformats.org/officeDocument/2006/relationships/chart" Target="../charts/chart142.xml"/><Relationship Id="rId12" Type="http://schemas.openxmlformats.org/officeDocument/2006/relationships/chart" Target="../charts/chart143.xml"/><Relationship Id="rId13" Type="http://schemas.openxmlformats.org/officeDocument/2006/relationships/chart" Target="../charts/chart144.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 Id="rId7" Type="http://schemas.openxmlformats.org/officeDocument/2006/relationships/chart" Target="../charts/chart10.xml"/><Relationship Id="rId8" Type="http://schemas.openxmlformats.org/officeDocument/2006/relationships/chart" Target="../charts/chart11.xml"/><Relationship Id="rId9" Type="http://schemas.openxmlformats.org/officeDocument/2006/relationships/chart" Target="../charts/chart12.xml"/><Relationship Id="rId10" Type="http://schemas.openxmlformats.org/officeDocument/2006/relationships/chart" Target="../charts/chart13.xml"/><Relationship Id="rId11" Type="http://schemas.openxmlformats.org/officeDocument/2006/relationships/chart" Target="../charts/chart14.xml"/><Relationship Id="rId12" Type="http://schemas.openxmlformats.org/officeDocument/2006/relationships/chart" Target="../charts/chart15.xml"/><Relationship Id="rId13" Type="http://schemas.openxmlformats.org/officeDocument/2006/relationships/chart" Target="../charts/chart16.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3.xml"/><Relationship Id="rId7" Type="http://schemas.openxmlformats.org/officeDocument/2006/relationships/chart" Target="../charts/chart154.xml"/><Relationship Id="rId8" Type="http://schemas.openxmlformats.org/officeDocument/2006/relationships/chart" Target="../charts/chart155.xml"/><Relationship Id="rId9" Type="http://schemas.openxmlformats.org/officeDocument/2006/relationships/chart" Target="../charts/chart156.xml"/><Relationship Id="rId10" Type="http://schemas.openxmlformats.org/officeDocument/2006/relationships/chart" Target="../charts/chart157.xml"/><Relationship Id="rId11" Type="http://schemas.openxmlformats.org/officeDocument/2006/relationships/chart" Target="../charts/chart158.xml"/><Relationship Id="rId12" Type="http://schemas.openxmlformats.org/officeDocument/2006/relationships/chart" Target="../charts/chart159.xml"/><Relationship Id="rId13" Type="http://schemas.openxmlformats.org/officeDocument/2006/relationships/chart" Target="../charts/chart16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1.xml"/><Relationship Id="rId7" Type="http://schemas.openxmlformats.org/officeDocument/2006/relationships/chart" Target="../charts/chart162.xml"/><Relationship Id="rId8" Type="http://schemas.openxmlformats.org/officeDocument/2006/relationships/chart" Target="../charts/chart163.xml"/><Relationship Id="rId9" Type="http://schemas.openxmlformats.org/officeDocument/2006/relationships/chart" Target="../charts/chart164.xml"/><Relationship Id="rId10" Type="http://schemas.openxmlformats.org/officeDocument/2006/relationships/chart" Target="../charts/chart165.xml"/><Relationship Id="rId11" Type="http://schemas.openxmlformats.org/officeDocument/2006/relationships/chart" Target="../charts/chart166.xml"/><Relationship Id="rId12" Type="http://schemas.openxmlformats.org/officeDocument/2006/relationships/chart" Target="../charts/chart167.xml"/><Relationship Id="rId13" Type="http://schemas.openxmlformats.org/officeDocument/2006/relationships/chart" Target="../charts/chart168.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xml"/><Relationship Id="rId7" Type="http://schemas.openxmlformats.org/officeDocument/2006/relationships/chart" Target="../charts/chart178.xml"/><Relationship Id="rId8" Type="http://schemas.openxmlformats.org/officeDocument/2006/relationships/chart" Target="../charts/chart179.xml"/><Relationship Id="rId9" Type="http://schemas.openxmlformats.org/officeDocument/2006/relationships/chart" Target="../charts/chart180.xml"/><Relationship Id="rId10" Type="http://schemas.openxmlformats.org/officeDocument/2006/relationships/chart" Target="../charts/chart181.xml"/><Relationship Id="rId11" Type="http://schemas.openxmlformats.org/officeDocument/2006/relationships/chart" Target="../charts/chart182.xml"/><Relationship Id="rId12" Type="http://schemas.openxmlformats.org/officeDocument/2006/relationships/chart" Target="../charts/chart183.xml"/><Relationship Id="rId13" Type="http://schemas.openxmlformats.org/officeDocument/2006/relationships/chart" Target="../charts/chart184.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5.xml"/><Relationship Id="rId7" Type="http://schemas.openxmlformats.org/officeDocument/2006/relationships/chart" Target="../charts/chart186.xml"/><Relationship Id="rId8" Type="http://schemas.openxmlformats.org/officeDocument/2006/relationships/chart" Target="../charts/chart187.xml"/><Relationship Id="rId9" Type="http://schemas.openxmlformats.org/officeDocument/2006/relationships/chart" Target="../charts/chart188.xml"/><Relationship Id="rId10" Type="http://schemas.openxmlformats.org/officeDocument/2006/relationships/chart" Target="../charts/chart189.xml"/><Relationship Id="rId11" Type="http://schemas.openxmlformats.org/officeDocument/2006/relationships/chart" Target="../charts/chart190.xml"/><Relationship Id="rId12" Type="http://schemas.openxmlformats.org/officeDocument/2006/relationships/chart" Target="../charts/chart191.xml"/><Relationship Id="rId13" Type="http://schemas.openxmlformats.org/officeDocument/2006/relationships/chart" Target="../charts/chart192.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1.xml"/><Relationship Id="rId7" Type="http://schemas.openxmlformats.org/officeDocument/2006/relationships/chart" Target="../charts/chart202.xml"/><Relationship Id="rId8" Type="http://schemas.openxmlformats.org/officeDocument/2006/relationships/chart" Target="../charts/chart203.xml"/><Relationship Id="rId9" Type="http://schemas.openxmlformats.org/officeDocument/2006/relationships/chart" Target="../charts/chart204.xml"/><Relationship Id="rId10" Type="http://schemas.openxmlformats.org/officeDocument/2006/relationships/chart" Target="../charts/chart205.xml"/><Relationship Id="rId11" Type="http://schemas.openxmlformats.org/officeDocument/2006/relationships/chart" Target="../charts/chart206.xml"/><Relationship Id="rId12" Type="http://schemas.openxmlformats.org/officeDocument/2006/relationships/chart" Target="../charts/chart207.xml"/><Relationship Id="rId13" Type="http://schemas.openxmlformats.org/officeDocument/2006/relationships/chart" Target="../charts/chart208.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9.xml"/><Relationship Id="rId7" Type="http://schemas.openxmlformats.org/officeDocument/2006/relationships/chart" Target="../charts/chart210.xml"/><Relationship Id="rId8" Type="http://schemas.openxmlformats.org/officeDocument/2006/relationships/chart" Target="../charts/chart211.xml"/><Relationship Id="rId9" Type="http://schemas.openxmlformats.org/officeDocument/2006/relationships/chart" Target="../charts/chart212.xml"/><Relationship Id="rId10" Type="http://schemas.openxmlformats.org/officeDocument/2006/relationships/chart" Target="../charts/chart213.xml"/><Relationship Id="rId11" Type="http://schemas.openxmlformats.org/officeDocument/2006/relationships/chart" Target="../charts/chart214.xml"/><Relationship Id="rId12" Type="http://schemas.openxmlformats.org/officeDocument/2006/relationships/chart" Target="../charts/chart215.xml"/><Relationship Id="rId13" Type="http://schemas.openxmlformats.org/officeDocument/2006/relationships/chart" Target="../charts/chart216.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5.xml"/><Relationship Id="rId7" Type="http://schemas.openxmlformats.org/officeDocument/2006/relationships/chart" Target="../charts/chart226.xml"/><Relationship Id="rId8" Type="http://schemas.openxmlformats.org/officeDocument/2006/relationships/chart" Target="../charts/chart227.xml"/><Relationship Id="rId9" Type="http://schemas.openxmlformats.org/officeDocument/2006/relationships/chart" Target="../charts/chart228.xml"/><Relationship Id="rId10" Type="http://schemas.openxmlformats.org/officeDocument/2006/relationships/chart" Target="../charts/chart229.xml"/><Relationship Id="rId11" Type="http://schemas.openxmlformats.org/officeDocument/2006/relationships/chart" Target="../charts/chart230.xml"/><Relationship Id="rId12" Type="http://schemas.openxmlformats.org/officeDocument/2006/relationships/chart" Target="../charts/chart231.xml"/><Relationship Id="rId13" Type="http://schemas.openxmlformats.org/officeDocument/2006/relationships/chart" Target="../charts/chart232.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 Id="rId7" Type="http://schemas.openxmlformats.org/officeDocument/2006/relationships/chart" Target="../charts/chart18.xml"/><Relationship Id="rId8" Type="http://schemas.openxmlformats.org/officeDocument/2006/relationships/chart" Target="../charts/chart19.xml"/><Relationship Id="rId9" Type="http://schemas.openxmlformats.org/officeDocument/2006/relationships/chart" Target="../charts/chart20.xml"/><Relationship Id="rId10" Type="http://schemas.openxmlformats.org/officeDocument/2006/relationships/chart" Target="../charts/chart21.xml"/><Relationship Id="rId11" Type="http://schemas.openxmlformats.org/officeDocument/2006/relationships/chart" Target="../charts/chart22.xml"/><Relationship Id="rId12" Type="http://schemas.openxmlformats.org/officeDocument/2006/relationships/chart" Target="../charts/chart23.xml"/><Relationship Id="rId13" Type="http://schemas.openxmlformats.org/officeDocument/2006/relationships/chart" Target="../charts/chart24.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3.xml"/><Relationship Id="rId7" Type="http://schemas.openxmlformats.org/officeDocument/2006/relationships/chart" Target="../charts/chart234.xml"/><Relationship Id="rId8" Type="http://schemas.openxmlformats.org/officeDocument/2006/relationships/chart" Target="../charts/chart235.xml"/><Relationship Id="rId9" Type="http://schemas.openxmlformats.org/officeDocument/2006/relationships/chart" Target="../charts/chart236.xml"/><Relationship Id="rId10" Type="http://schemas.openxmlformats.org/officeDocument/2006/relationships/chart" Target="../charts/chart237.xml"/><Relationship Id="rId11" Type="http://schemas.openxmlformats.org/officeDocument/2006/relationships/chart" Target="../charts/chart238.xml"/><Relationship Id="rId12" Type="http://schemas.openxmlformats.org/officeDocument/2006/relationships/chart" Target="../charts/chart239.xml"/><Relationship Id="rId13" Type="http://schemas.openxmlformats.org/officeDocument/2006/relationships/chart" Target="../charts/chart24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9.xml"/><Relationship Id="rId7" Type="http://schemas.openxmlformats.org/officeDocument/2006/relationships/chart" Target="../charts/chart250.xml"/><Relationship Id="rId8" Type="http://schemas.openxmlformats.org/officeDocument/2006/relationships/chart" Target="../charts/chart251.xml"/><Relationship Id="rId9" Type="http://schemas.openxmlformats.org/officeDocument/2006/relationships/chart" Target="../charts/chart252.xml"/><Relationship Id="rId10" Type="http://schemas.openxmlformats.org/officeDocument/2006/relationships/chart" Target="../charts/chart253.xml"/><Relationship Id="rId11" Type="http://schemas.openxmlformats.org/officeDocument/2006/relationships/chart" Target="../charts/chart254.xml"/><Relationship Id="rId12" Type="http://schemas.openxmlformats.org/officeDocument/2006/relationships/chart" Target="../charts/chart255.xml"/><Relationship Id="rId13" Type="http://schemas.openxmlformats.org/officeDocument/2006/relationships/chart" Target="../charts/chart256.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7.xml"/><Relationship Id="rId7" Type="http://schemas.openxmlformats.org/officeDocument/2006/relationships/chart" Target="../charts/chart258.xml"/><Relationship Id="rId8" Type="http://schemas.openxmlformats.org/officeDocument/2006/relationships/chart" Target="../charts/chart259.xml"/><Relationship Id="rId9" Type="http://schemas.openxmlformats.org/officeDocument/2006/relationships/chart" Target="../charts/chart260.xml"/><Relationship Id="rId10" Type="http://schemas.openxmlformats.org/officeDocument/2006/relationships/chart" Target="../charts/chart261.xml"/><Relationship Id="rId11" Type="http://schemas.openxmlformats.org/officeDocument/2006/relationships/chart" Target="../charts/chart262.xml"/><Relationship Id="rId12" Type="http://schemas.openxmlformats.org/officeDocument/2006/relationships/chart" Target="../charts/chart263.xml"/><Relationship Id="rId13" Type="http://schemas.openxmlformats.org/officeDocument/2006/relationships/chart" Target="../charts/chart264.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3.xml"/><Relationship Id="rId7" Type="http://schemas.openxmlformats.org/officeDocument/2006/relationships/chart" Target="../charts/chart274.xml"/><Relationship Id="rId8" Type="http://schemas.openxmlformats.org/officeDocument/2006/relationships/chart" Target="../charts/chart275.xml"/><Relationship Id="rId9" Type="http://schemas.openxmlformats.org/officeDocument/2006/relationships/chart" Target="../charts/chart276.xml"/><Relationship Id="rId10" Type="http://schemas.openxmlformats.org/officeDocument/2006/relationships/chart" Target="../charts/chart277.xml"/><Relationship Id="rId11" Type="http://schemas.openxmlformats.org/officeDocument/2006/relationships/chart" Target="../charts/chart278.xml"/><Relationship Id="rId12" Type="http://schemas.openxmlformats.org/officeDocument/2006/relationships/chart" Target="../charts/chart279.xml"/><Relationship Id="rId13" Type="http://schemas.openxmlformats.org/officeDocument/2006/relationships/chart" Target="../charts/chart280.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1.xml"/><Relationship Id="rId7" Type="http://schemas.openxmlformats.org/officeDocument/2006/relationships/chart" Target="../charts/chart282.xml"/><Relationship Id="rId8" Type="http://schemas.openxmlformats.org/officeDocument/2006/relationships/chart" Target="../charts/chart283.xml"/><Relationship Id="rId9" Type="http://schemas.openxmlformats.org/officeDocument/2006/relationships/chart" Target="../charts/chart284.xml"/><Relationship Id="rId10" Type="http://schemas.openxmlformats.org/officeDocument/2006/relationships/chart" Target="../charts/chart285.xml"/><Relationship Id="rId11" Type="http://schemas.openxmlformats.org/officeDocument/2006/relationships/chart" Target="../charts/chart286.xml"/><Relationship Id="rId12" Type="http://schemas.openxmlformats.org/officeDocument/2006/relationships/chart" Target="../charts/chart287.xml"/><Relationship Id="rId13" Type="http://schemas.openxmlformats.org/officeDocument/2006/relationships/chart" Target="../charts/chart288.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 Id="rId7" Type="http://schemas.openxmlformats.org/officeDocument/2006/relationships/chart" Target="../charts/chart34.xml"/><Relationship Id="rId8" Type="http://schemas.openxmlformats.org/officeDocument/2006/relationships/chart" Target="../charts/chart35.xml"/><Relationship Id="rId9" Type="http://schemas.openxmlformats.org/officeDocument/2006/relationships/chart" Target="../charts/chart36.xml"/><Relationship Id="rId10" Type="http://schemas.openxmlformats.org/officeDocument/2006/relationships/chart" Target="../charts/chart37.xml"/><Relationship Id="rId11" Type="http://schemas.openxmlformats.org/officeDocument/2006/relationships/chart" Target="../charts/chart38.xml"/><Relationship Id="rId12" Type="http://schemas.openxmlformats.org/officeDocument/2006/relationships/chart" Target="../charts/chart39.xml"/><Relationship Id="rId13" Type="http://schemas.openxmlformats.org/officeDocument/2006/relationships/chart" Target="../charts/chart4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xml"/><Relationship Id="rId7" Type="http://schemas.openxmlformats.org/officeDocument/2006/relationships/chart" Target="../charts/chart42.xml"/><Relationship Id="rId8" Type="http://schemas.openxmlformats.org/officeDocument/2006/relationships/chart" Target="../charts/chart43.xml"/><Relationship Id="rId9" Type="http://schemas.openxmlformats.org/officeDocument/2006/relationships/chart" Target="../charts/chart44.xml"/><Relationship Id="rId10" Type="http://schemas.openxmlformats.org/officeDocument/2006/relationships/chart" Target="../charts/chart45.xml"/><Relationship Id="rId11" Type="http://schemas.openxmlformats.org/officeDocument/2006/relationships/chart" Target="../charts/chart46.xml"/><Relationship Id="rId12" Type="http://schemas.openxmlformats.org/officeDocument/2006/relationships/chart" Target="../charts/chart47.xml"/><Relationship Id="rId13" Type="http://schemas.openxmlformats.org/officeDocument/2006/relationships/chart" Target="../charts/chart48.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xml"/><Relationship Id="rId7" Type="http://schemas.openxmlformats.org/officeDocument/2006/relationships/chart" Target="../charts/chart58.xml"/><Relationship Id="rId8" Type="http://schemas.openxmlformats.org/officeDocument/2006/relationships/chart" Target="../charts/chart59.xml"/><Relationship Id="rId9" Type="http://schemas.openxmlformats.org/officeDocument/2006/relationships/chart" Target="../charts/chart60.xml"/><Relationship Id="rId10" Type="http://schemas.openxmlformats.org/officeDocument/2006/relationships/chart" Target="../charts/chart61.xml"/><Relationship Id="rId11" Type="http://schemas.openxmlformats.org/officeDocument/2006/relationships/chart" Target="../charts/chart62.xml"/><Relationship Id="rId12" Type="http://schemas.openxmlformats.org/officeDocument/2006/relationships/chart" Target="../charts/chart63.xml"/><Relationship Id="rId13" Type="http://schemas.openxmlformats.org/officeDocument/2006/relationships/chart" Target="../charts/chart64.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5.xml"/><Relationship Id="rId7" Type="http://schemas.openxmlformats.org/officeDocument/2006/relationships/chart" Target="../charts/chart66.xml"/><Relationship Id="rId8" Type="http://schemas.openxmlformats.org/officeDocument/2006/relationships/chart" Target="../charts/chart67.xml"/><Relationship Id="rId9" Type="http://schemas.openxmlformats.org/officeDocument/2006/relationships/chart" Target="../charts/chart68.xml"/><Relationship Id="rId10" Type="http://schemas.openxmlformats.org/officeDocument/2006/relationships/chart" Target="../charts/chart69.xml"/><Relationship Id="rId11" Type="http://schemas.openxmlformats.org/officeDocument/2006/relationships/chart" Target="../charts/chart70.xml"/><Relationship Id="rId12" Type="http://schemas.openxmlformats.org/officeDocument/2006/relationships/chart" Target="../charts/chart71.xml"/><Relationship Id="rId13" Type="http://schemas.openxmlformats.org/officeDocument/2006/relationships/chart" Target="../charts/chart7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739215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0445378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7087487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0579648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9931683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6501607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5742885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8786210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4119441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52515293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17393785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85088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3948704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0975794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8413089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5567792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9563778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5619215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0643774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02852258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5862725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8410064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1132976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05292105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73492630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93492900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10683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78117848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61120047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gment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3223936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523661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602179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197341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NATIONAL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489204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Carrefour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754356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08"/>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409690">
                <a:tc>
                  <a:txBody>
                    <a:bodyPr/>
                    <a:lstStyle/>
                    <a:p>
                      <a:pPr algn="ctr">
                        <a:defRPr sz="700">
                          <a:latin typeface="Nexa Bold (Headings)"/>
                        </a:defRPr>
                      </a:pPr>
                      <a:r>
                        <a:t>550+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409690">
                <a:tc>
                  <a:txBody>
                    <a:bodyPr/>
                    <a:lstStyle/>
                    <a:p>
                      <a:pPr algn="ctr">
                        <a:defRPr sz="700">
                          <a:latin typeface="Nexa Bold (Headings)"/>
                        </a:defRPr>
                      </a:pPr>
                      <a:r>
                        <a:t>450-5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409690">
                <a:tc>
                  <a:txBody>
                    <a:bodyPr/>
                    <a:lstStyle/>
                    <a:p>
                      <a:pPr algn="ctr">
                        <a:defRPr sz="700">
                          <a:latin typeface="Nexa Bold (Headings)"/>
                        </a:defRPr>
                      </a:pPr>
                      <a:r>
                        <a:t>350-4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409690">
                <a:tc>
                  <a:txBody>
                    <a:bodyPr/>
                    <a:lstStyle/>
                    <a:p>
                      <a:pPr algn="ctr">
                        <a:defRPr sz="700">
                          <a:latin typeface="Nexa Bold (Headings)"/>
                        </a:defRPr>
                      </a:pPr>
                      <a:r>
                        <a:t>250-3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409690">
                <a:tc>
                  <a:txBody>
                    <a:bodyPr/>
                    <a:lstStyle/>
                    <a:p>
                      <a:pPr algn="ctr">
                        <a:defRPr sz="700">
                          <a:latin typeface="Nexa Bold (Headings)"/>
                        </a:defRPr>
                      </a:pPr>
                      <a:r>
                        <a:t>150-2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409690">
                <a:tc>
                  <a:txBody>
                    <a:bodyPr/>
                    <a:lstStyle/>
                    <a:p>
                      <a:pPr algn="ctr">
                        <a:defRPr sz="700">
                          <a:latin typeface="Nexa Bold (Headings)"/>
                        </a:defRPr>
                      </a:pPr>
                      <a:r>
                        <a:t>50-1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409690">
                <a:tc>
                  <a:txBody>
                    <a:bodyPr/>
                    <a:lstStyle/>
                    <a:p>
                      <a:pPr algn="ctr">
                        <a:defRPr sz="700">
                          <a:latin typeface="Nexa Bold (Headings)"/>
                        </a:defRPr>
                      </a:pPr>
                      <a:r>
                        <a:t>0-49 GR</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Size Bracket | By Sector | Intermarche | P3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Siz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683093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3564</Words>
  <Application>Microsoft Office PowerPoint</Application>
  <PresentationFormat>On-screen Show (16:9)</PresentationFormat>
  <Paragraphs>1260</Paragraphs>
  <Slides>36</Slides>
  <Notes>3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7"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08T14:45: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